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32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notesSlides/notesSlide9.xml" ContentType="application/vnd.openxmlformats-officedocument.presentationml.notesSlide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notesSlides/notesSlide6.xml" ContentType="application/vnd.openxmlformats-officedocument.presentationml.notesSlide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Default Extension="gif" ContentType="image/gif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298" r:id="rId3"/>
    <p:sldId id="309" r:id="rId4"/>
    <p:sldId id="303" r:id="rId5"/>
    <p:sldId id="317" r:id="rId6"/>
    <p:sldId id="310" r:id="rId7"/>
    <p:sldId id="319" r:id="rId8"/>
    <p:sldId id="320" r:id="rId9"/>
    <p:sldId id="306" r:id="rId10"/>
    <p:sldId id="322" r:id="rId11"/>
    <p:sldId id="321" r:id="rId12"/>
    <p:sldId id="323" r:id="rId13"/>
    <p:sldId id="311" r:id="rId14"/>
    <p:sldId id="314" r:id="rId15"/>
    <p:sldId id="315" r:id="rId16"/>
    <p:sldId id="318" r:id="rId17"/>
  </p:sldIdLst>
  <p:sldSz cx="9144000" cy="6858000" type="screen4x3"/>
  <p:notesSz cx="6858000" cy="9144000"/>
  <p:custDataLst>
    <p:tags r:id="rId1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hilipp" initials="P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9A"/>
    <a:srgbClr val="9BC62E"/>
    <a:srgbClr val="FFB7B7"/>
    <a:srgbClr val="E9EDF4"/>
    <a:srgbClr val="E75325"/>
    <a:srgbClr val="88AE28"/>
    <a:srgbClr val="640000"/>
    <a:srgbClr val="320000"/>
    <a:srgbClr val="FF252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523" autoAdjust="0"/>
    <p:restoredTop sz="98057" autoAdjust="0"/>
  </p:normalViewPr>
  <p:slideViewPr>
    <p:cSldViewPr showGuides="1">
      <p:cViewPr varScale="1">
        <p:scale>
          <a:sx n="110" d="100"/>
          <a:sy n="110" d="100"/>
        </p:scale>
        <p:origin x="-1560" y="-90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64564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17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132.xml"/><Relationship Id="rId21" Type="http://schemas.openxmlformats.org/officeDocument/2006/relationships/tags" Target="../tags/tag150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tags" Target="../tags/tag154.xml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20" Type="http://schemas.openxmlformats.org/officeDocument/2006/relationships/tags" Target="../tags/tag149.xml"/><Relationship Id="rId29" Type="http://schemas.openxmlformats.org/officeDocument/2006/relationships/hyperlink" Target="http://mediasubs.ru/group/uploads/li/lichnostnyij-rost-i-finansyi/image2/ItMDliMWJ.jpg" TargetMode="External"/><Relationship Id="rId1" Type="http://schemas.openxmlformats.org/officeDocument/2006/relationships/vmlDrawing" Target="../drawings/vmlDrawing9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24" Type="http://schemas.openxmlformats.org/officeDocument/2006/relationships/tags" Target="../tags/tag153.xml"/><Relationship Id="rId32" Type="http://schemas.openxmlformats.org/officeDocument/2006/relationships/image" Target="../media/image4.jpeg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oleObject" Target="../embeddings/oleObject9.bin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31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tags" Target="../tags/tag151.xml"/><Relationship Id="rId27" Type="http://schemas.openxmlformats.org/officeDocument/2006/relationships/notesSlide" Target="../notesSlides/notesSlide8.xml"/><Relationship Id="rId30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26" Type="http://schemas.openxmlformats.org/officeDocument/2006/relationships/tags" Target="../tags/tag179.xml"/><Relationship Id="rId39" Type="http://schemas.openxmlformats.org/officeDocument/2006/relationships/image" Target="../media/image4.jpeg"/><Relationship Id="rId3" Type="http://schemas.openxmlformats.org/officeDocument/2006/relationships/tags" Target="../tags/tag156.xml"/><Relationship Id="rId21" Type="http://schemas.openxmlformats.org/officeDocument/2006/relationships/tags" Target="../tags/tag174.xml"/><Relationship Id="rId34" Type="http://schemas.openxmlformats.org/officeDocument/2006/relationships/notesSlide" Target="../notesSlides/notesSlide9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5" Type="http://schemas.openxmlformats.org/officeDocument/2006/relationships/tags" Target="../tags/tag178.xml"/><Relationship Id="rId33" Type="http://schemas.openxmlformats.org/officeDocument/2006/relationships/slideLayout" Target="../slideLayouts/slideLayout2.xml"/><Relationship Id="rId38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20" Type="http://schemas.openxmlformats.org/officeDocument/2006/relationships/tags" Target="../tags/tag173.xml"/><Relationship Id="rId29" Type="http://schemas.openxmlformats.org/officeDocument/2006/relationships/tags" Target="../tags/tag18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24" Type="http://schemas.openxmlformats.org/officeDocument/2006/relationships/tags" Target="../tags/tag177.xml"/><Relationship Id="rId32" Type="http://schemas.openxmlformats.org/officeDocument/2006/relationships/tags" Target="../tags/tag185.xml"/><Relationship Id="rId37" Type="http://schemas.openxmlformats.org/officeDocument/2006/relationships/image" Target="../media/image6.jpeg"/><Relationship Id="rId5" Type="http://schemas.openxmlformats.org/officeDocument/2006/relationships/tags" Target="../tags/tag158.xml"/><Relationship Id="rId15" Type="http://schemas.openxmlformats.org/officeDocument/2006/relationships/tags" Target="../tags/tag168.xml"/><Relationship Id="rId23" Type="http://schemas.openxmlformats.org/officeDocument/2006/relationships/tags" Target="../tags/tag176.xml"/><Relationship Id="rId28" Type="http://schemas.openxmlformats.org/officeDocument/2006/relationships/tags" Target="../tags/tag181.xml"/><Relationship Id="rId36" Type="http://schemas.openxmlformats.org/officeDocument/2006/relationships/hyperlink" Target="http://mediasubs.ru/group/uploads/li/lichnostnyij-rost-i-finansyi/image2/ItMDliMWJ.jpg" TargetMode="External"/><Relationship Id="rId10" Type="http://schemas.openxmlformats.org/officeDocument/2006/relationships/tags" Target="../tags/tag163.xml"/><Relationship Id="rId19" Type="http://schemas.openxmlformats.org/officeDocument/2006/relationships/tags" Target="../tags/tag172.xml"/><Relationship Id="rId31" Type="http://schemas.openxmlformats.org/officeDocument/2006/relationships/tags" Target="../tags/tag184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tags" Target="../tags/tag175.xml"/><Relationship Id="rId27" Type="http://schemas.openxmlformats.org/officeDocument/2006/relationships/tags" Target="../tags/tag180.xml"/><Relationship Id="rId30" Type="http://schemas.openxmlformats.org/officeDocument/2006/relationships/tags" Target="../tags/tag183.xml"/><Relationship Id="rId35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notesSlide" Target="../notesSlides/notesSlide10.xml"/><Relationship Id="rId2" Type="http://schemas.openxmlformats.org/officeDocument/2006/relationships/tags" Target="../tags/tag186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6.jpeg"/><Relationship Id="rId1" Type="http://schemas.openxmlformats.org/officeDocument/2006/relationships/vmlDrawing" Target="../drawings/vmlDrawing11.v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10" Type="http://schemas.openxmlformats.org/officeDocument/2006/relationships/tags" Target="../tags/tag194.xml"/><Relationship Id="rId19" Type="http://schemas.openxmlformats.org/officeDocument/2006/relationships/hyperlink" Target="http://mediasubs.ru/group/uploads/li/lichnostnyij-rost-i-finansyi/image2/ItMDliMWJ.jpg" TargetMode="Externa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01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3.xml"/><Relationship Id="rId4" Type="http://schemas.openxmlformats.org/officeDocument/2006/relationships/tags" Target="../tags/tag20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notesSlide" Target="../notesSlides/notesSlide12.xml"/><Relationship Id="rId3" Type="http://schemas.openxmlformats.org/officeDocument/2006/relationships/tags" Target="../tags/tag205.xml"/><Relationship Id="rId21" Type="http://schemas.openxmlformats.org/officeDocument/2006/relationships/image" Target="../media/image8.gif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hyperlink" Target="http://img-fotki.yandex.ru/get/5607/coto48.1f/0_60514_5f9181a7_XL" TargetMode="External"/><Relationship Id="rId1" Type="http://schemas.openxmlformats.org/officeDocument/2006/relationships/vmlDrawing" Target="../drawings/vmlDrawing13.v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10" Type="http://schemas.openxmlformats.org/officeDocument/2006/relationships/tags" Target="../tags/tag212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26" Type="http://schemas.openxmlformats.org/officeDocument/2006/relationships/hyperlink" Target="http://www.kanzlider.ru/upload/iblock/134/13448beebc4712b9afba75e0148727ac.png" TargetMode="External"/><Relationship Id="rId3" Type="http://schemas.openxmlformats.org/officeDocument/2006/relationships/tags" Target="../tags/tag221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image" Target="../media/image9.jpeg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tags" Target="../tags/tag23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24" Type="http://schemas.openxmlformats.org/officeDocument/2006/relationships/hyperlink" Target="http://i25.fastpic.ru/big/2012/1007/93/5f5e42d283e3125caebde64f0c4c0b93.jpg" TargetMode="Externa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oleObject" Target="../embeddings/oleObject14.bin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notesSlide" Target="../notesSlides/notesSlide13.xml"/><Relationship Id="rId27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9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oleObject" Target="../embeddings/oleObject3.bin"/><Relationship Id="rId3" Type="http://schemas.openxmlformats.org/officeDocument/2006/relationships/tags" Target="../tags/tag23.xml"/><Relationship Id="rId21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22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3.jpeg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hyperlink" Target="http://images.yandex.ru/" TargetMode="Externa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notesSlide" Target="../notesSlides/notesSlide3.xml"/><Relationship Id="rId3" Type="http://schemas.openxmlformats.org/officeDocument/2006/relationships/tags" Target="../tags/tag37.xml"/><Relationship Id="rId21" Type="http://schemas.openxmlformats.org/officeDocument/2006/relationships/hyperlink" Target="http://www.chudopredki.ru/uploads/posts/2011-10/1318962864_magazin.jpg" TargetMode="Externa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hyperlink" Target="http://images.yandex.ru/" TargetMode="External"/><Relationship Id="rId1" Type="http://schemas.openxmlformats.org/officeDocument/2006/relationships/vmlDrawing" Target="../drawings/vmlDrawing4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image" Target="../media/image4.jpeg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10" Type="http://schemas.openxmlformats.org/officeDocument/2006/relationships/tags" Target="../tags/tag44.xml"/><Relationship Id="rId19" Type="http://schemas.openxmlformats.org/officeDocument/2006/relationships/oleObject" Target="../embeddings/oleObject4.bin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2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tags" Target="../tags/tag79.xml"/><Relationship Id="rId3" Type="http://schemas.openxmlformats.org/officeDocument/2006/relationships/tags" Target="../tags/tag56.xml"/><Relationship Id="rId21" Type="http://schemas.openxmlformats.org/officeDocument/2006/relationships/tags" Target="../tags/tag74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tags" Target="../tags/tag78.xml"/><Relationship Id="rId33" Type="http://schemas.openxmlformats.org/officeDocument/2006/relationships/image" Target="../media/image6.jpeg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tags" Target="../tags/tag73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tags" Target="../tags/tag77.xml"/><Relationship Id="rId32" Type="http://schemas.openxmlformats.org/officeDocument/2006/relationships/hyperlink" Target="http://mediasubs.ru/group/uploads/li/lichnostnyij-rost-i-finansyi/image2/ItMDliMWJ.jpg" TargetMode="External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28" Type="http://schemas.openxmlformats.org/officeDocument/2006/relationships/tags" Target="../tags/tag81.xml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31" Type="http://schemas.openxmlformats.org/officeDocument/2006/relationships/oleObject" Target="../embeddings/oleObject6.bin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Relationship Id="rId27" Type="http://schemas.openxmlformats.org/officeDocument/2006/relationships/tags" Target="../tags/tag80.xml"/><Relationship Id="rId30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oleObject" Target="../embeddings/oleObject7.bin"/><Relationship Id="rId3" Type="http://schemas.openxmlformats.org/officeDocument/2006/relationships/tags" Target="../tags/tag83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notesSlide" Target="../notesSlides/notesSlide6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29" Type="http://schemas.openxmlformats.org/officeDocument/2006/relationships/tags" Target="../tags/tag109.xml"/><Relationship Id="rId41" Type="http://schemas.openxmlformats.org/officeDocument/2006/relationships/image" Target="../media/image6.jpeg"/><Relationship Id="rId1" Type="http://schemas.openxmlformats.org/officeDocument/2006/relationships/vmlDrawing" Target="../drawings/vmlDrawing7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slideLayout" Target="../slideLayouts/slideLayout2.xml"/><Relationship Id="rId40" Type="http://schemas.openxmlformats.org/officeDocument/2006/relationships/hyperlink" Target="http://mediasubs.ru/group/uploads/li/lichnostnyij-rost-i-finansyi/image2/ItMDliMWJ.jpg" TargetMode="External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31" Type="http://schemas.openxmlformats.org/officeDocument/2006/relationships/tags" Target="../tags/tag111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oleObject" Target="../embeddings/oleObject8.bin"/><Relationship Id="rId3" Type="http://schemas.openxmlformats.org/officeDocument/2006/relationships/tags" Target="../tags/tag118.xml"/><Relationship Id="rId21" Type="http://schemas.openxmlformats.org/officeDocument/2006/relationships/image" Target="../media/image6.jpeg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notesSlide" Target="../notesSlides/notesSlide7.xml"/><Relationship Id="rId2" Type="http://schemas.openxmlformats.org/officeDocument/2006/relationships/tags" Target="../tags/tag117.xml"/><Relationship Id="rId16" Type="http://schemas.openxmlformats.org/officeDocument/2006/relationships/slideLayout" Target="../slideLayouts/slideLayout2.xml"/><Relationship Id="rId20" Type="http://schemas.openxmlformats.org/officeDocument/2006/relationships/hyperlink" Target="http://mediasubs.ru/group/uploads/li/lichnostnyij-rost-i-finansyi/image2/ItMDliMWJ.jpg" TargetMode="External"/><Relationship Id="rId1" Type="http://schemas.openxmlformats.org/officeDocument/2006/relationships/vmlDrawing" Target="../drawings/vmlDrawing8.v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10" Type="http://schemas.openxmlformats.org/officeDocument/2006/relationships/tags" Target="../tags/tag125.xml"/><Relationship Id="rId19" Type="http://schemas.openxmlformats.org/officeDocument/2006/relationships/image" Target="../media/image7.png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18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4: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5890" name="think-cell Slide" r:id="rId28" imgW="270" imgH="270" progId="TCLayout.ActiveDocument.1">
              <p:embed/>
            </p:oleObj>
          </a:graphicData>
        </a:graphic>
      </p:graphicFrame>
      <p:sp>
        <p:nvSpPr>
          <p:cNvPr id="38" name="Прямоугольник 37"/>
          <p:cNvSpPr/>
          <p:nvPr>
            <p:custDataLst>
              <p:tags r:id="rId2"/>
            </p:custDataLst>
          </p:nvPr>
        </p:nvSpPr>
        <p:spPr>
          <a:xfrm>
            <a:off x="4357686" y="2982245"/>
            <a:ext cx="2302546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>
            <p:custDataLst>
              <p:tags r:id="rId3"/>
            </p:custDataLst>
          </p:nvPr>
        </p:nvSpPr>
        <p:spPr>
          <a:xfrm>
            <a:off x="6643702" y="3870790"/>
            <a:ext cx="2214578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4"/>
            </p:custDataLst>
          </p:nvPr>
        </p:nvSpPr>
        <p:spPr>
          <a:xfrm rot="10800000">
            <a:off x="2071670" y="2139126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5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едвижимости характеризуются как положительным, так и отрицательным воздействием на субъектов МСП г. Москвы </a:t>
            </a:r>
            <a:r>
              <a:rPr lang="ru-RU" dirty="0" smtClean="0"/>
              <a:t>в сегменте «Оптовая и розничная торговля»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2067688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9"/>
            </p:custDataLst>
          </p:nvPr>
        </p:nvSpPr>
        <p:spPr>
          <a:xfrm>
            <a:off x="142844" y="2970790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едвижимость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-142908" y="2324393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1"/>
            </p:custDataLst>
          </p:nvPr>
        </p:nvSpPr>
        <p:spPr>
          <a:xfrm>
            <a:off x="2071670" y="2970791"/>
            <a:ext cx="6786610" cy="1142185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2"/>
            </p:custDataLst>
          </p:nvPr>
        </p:nvCxnSpPr>
        <p:spPr>
          <a:xfrm rot="5400000">
            <a:off x="3801384" y="3556674"/>
            <a:ext cx="111260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3"/>
            </p:custDataLst>
          </p:nvPr>
        </p:nvCxnSpPr>
        <p:spPr>
          <a:xfrm rot="16200000" flipH="1">
            <a:off x="6094810" y="3549264"/>
            <a:ext cx="1112604" cy="1482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643702" y="812053"/>
            <a:ext cx="2176770" cy="830997"/>
          </a:xfrm>
          <a:prstGeom prst="rect">
            <a:avLst/>
          </a:prstGeom>
          <a:noFill/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общей площади торговых площадей позволит повысить их доступность для субъектов МСП</a:t>
            </a:r>
            <a:endParaRPr lang="ru-RU" sz="800" dirty="0" smtClean="0">
              <a:latin typeface="+mn-lt"/>
            </a:endParaRPr>
          </a:p>
        </p:txBody>
      </p:sp>
      <p:pic>
        <p:nvPicPr>
          <p:cNvPr id="42" name="Picture 16" descr="http://mediasubs.ru/group/uploads/li/lichnostnyij-rost-i-finansyi/image2/ItMDliMWJ.jpg">
            <a:hlinkClick r:id="rId29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14282" y="1071546"/>
            <a:ext cx="1643074" cy="1215876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16"/>
            </p:custDataLst>
          </p:nvPr>
        </p:nvSpPr>
        <p:spPr>
          <a:xfrm>
            <a:off x="2071670" y="4155350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17"/>
            </p:custDataLst>
            <p:extLst>
              <p:ext uri="{D42A27DB-BD31-4B8C-83A1-F6EECF244321}">
                <p14:modId xmlns="" xmlns:p14="http://schemas.microsoft.com/office/powerpoint/2010/main" val="1898590413"/>
              </p:ext>
            </p:extLst>
          </p:nvPr>
        </p:nvGraphicFramePr>
        <p:xfrm>
          <a:off x="2071670" y="4155350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-14290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429124" y="3240945"/>
            <a:ext cx="221457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настоящее время существует проблема дефицита торговых площадей </a:t>
            </a:r>
            <a:r>
              <a:rPr lang="ru-RU" sz="1200" dirty="0" smtClean="0">
                <a:latin typeface="+mn-lt"/>
              </a:rPr>
              <a:t>(вакантность помещений на уровне 3%)</a:t>
            </a:r>
            <a:endParaRPr lang="en-US" sz="1200" dirty="0" smtClean="0">
              <a:latin typeface="+mn-lt"/>
            </a:endParaRPr>
          </a:p>
        </p:txBody>
      </p:sp>
      <p:pic>
        <p:nvPicPr>
          <p:cNvPr id="125959" name="Picture 7" descr="http://ivbb.ru/domain_dependent/ivbb.ru/uploadify/3d5b9ce52a570d78e6b4bf7f07f18550.jpg">
            <a:hlinkClick r:id="rId31"/>
          </p:cNvPr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единительная линия 36"/>
          <p:cNvCxnSpPr/>
          <p:nvPr>
            <p:custDataLst>
              <p:tags r:id="rId21"/>
            </p:custDataLst>
          </p:nvPr>
        </p:nvCxnSpPr>
        <p:spPr>
          <a:xfrm>
            <a:off x="4357686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643702" y="3071810"/>
            <a:ext cx="22145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ланируется введение 5,4 млн кв.м. площади к 2017 г.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47" name="Прямая соединительная линия 46"/>
          <p:cNvCxnSpPr/>
          <p:nvPr>
            <p:custDataLst>
              <p:tags r:id="rId23"/>
            </p:custDataLst>
          </p:nvPr>
        </p:nvCxnSpPr>
        <p:spPr>
          <a:xfrm>
            <a:off x="6658522" y="3870790"/>
            <a:ext cx="2199758" cy="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трелка вниз 47"/>
          <p:cNvSpPr/>
          <p:nvPr>
            <p:custDataLst>
              <p:tags r:id="rId24"/>
            </p:custDataLst>
          </p:nvPr>
        </p:nvSpPr>
        <p:spPr>
          <a:xfrm rot="10800000">
            <a:off x="7236296" y="1703658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17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Развитие оптовой и розничной торговли, общественного питания и бытовых услуг города Москвы на 2012-2016 гг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., Магазин Магазинов «Обзор рынка торговой недвижимости Москвы»</a:t>
            </a:r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5" name="Стрелка вниз 54"/>
          <p:cNvSpPr/>
          <p:nvPr/>
        </p:nvSpPr>
        <p:spPr>
          <a:xfrm>
            <a:off x="4857752" y="5000636"/>
            <a:ext cx="1214446" cy="34150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/>
        </p:nvSpPr>
        <p:spPr>
          <a:xfrm>
            <a:off x="4000496" y="5429264"/>
            <a:ext cx="3071834" cy="71438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ход на рынок для новых продавцов </a:t>
            </a:r>
            <a:r>
              <a:rPr lang="ru-RU" sz="1200" dirty="0" smtClean="0">
                <a:solidFill>
                  <a:schemeClr val="tx1"/>
                </a:solidFill>
              </a:rPr>
              <a:t>осложнен, также обеспеченность торговыми площадями недостаточна (</a:t>
            </a:r>
            <a:r>
              <a:rPr lang="en-US" sz="1200" dirty="0" smtClean="0">
                <a:solidFill>
                  <a:schemeClr val="tx1"/>
                </a:solidFill>
              </a:rPr>
              <a:t>&lt;</a:t>
            </a:r>
            <a:r>
              <a:rPr lang="ru-RU" sz="1200" dirty="0" smtClean="0">
                <a:solidFill>
                  <a:schemeClr val="tx1"/>
                </a:solidFill>
              </a:rPr>
              <a:t>800 кв.м</a:t>
            </a:r>
            <a:r>
              <a:rPr lang="ru-RU" sz="1200" dirty="0" smtClean="0">
                <a:solidFill>
                  <a:schemeClr val="tx1"/>
                </a:solidFill>
              </a:rPr>
              <a:t>. на тыс. </a:t>
            </a:r>
            <a:r>
              <a:rPr lang="ru-RU" sz="1200" dirty="0" smtClean="0">
                <a:solidFill>
                  <a:schemeClr val="tx1"/>
                </a:solidFill>
              </a:rPr>
              <a:t>жителей,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в Европе-1200)</a:t>
            </a:r>
            <a:endParaRPr lang="ru-RU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4866" name="think-cell Slide" r:id="rId35" imgW="270" imgH="270" progId="TCLayout.ActiveDocument.1">
              <p:embed/>
            </p:oleObj>
          </a:graphicData>
        </a:graphic>
      </p:graphicFrame>
      <p:sp>
        <p:nvSpPr>
          <p:cNvPr id="30" name="Прямоугольник 29"/>
          <p:cNvSpPr/>
          <p:nvPr>
            <p:custDataLst>
              <p:tags r:id="rId2"/>
            </p:custDataLst>
          </p:nvPr>
        </p:nvSpPr>
        <p:spPr>
          <a:xfrm>
            <a:off x="2071670" y="3857628"/>
            <a:ext cx="2302546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4357686" y="2982245"/>
            <a:ext cx="2302546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>
            <p:custDataLst>
              <p:tags r:id="rId4"/>
            </p:custDataLst>
          </p:nvPr>
        </p:nvSpPr>
        <p:spPr>
          <a:xfrm>
            <a:off x="6631732" y="3870790"/>
            <a:ext cx="2226548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5"/>
            </p:custDataLst>
          </p:nvPr>
        </p:nvSpPr>
        <p:spPr>
          <a:xfrm rot="10800000">
            <a:off x="2071670" y="2139126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6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социальной напряженности, преступности и неравенства характеризуются как положительным, так и отрицательным воздействием на субъектов МСП г. Москвы </a:t>
            </a:r>
            <a:r>
              <a:rPr lang="ru-RU" dirty="0" smtClean="0"/>
              <a:t>в сегменте «Оптовая и розничная торговля»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1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2067688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0"/>
            </p:custDataLst>
          </p:nvPr>
        </p:nvSpPr>
        <p:spPr>
          <a:xfrm>
            <a:off x="142844" y="2970790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bg1"/>
                </a:solidFill>
              </a:rPr>
              <a:t>Социальная напряженность, преступность и неравенство</a:t>
            </a: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-142908" y="2324393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2"/>
            </p:custDataLst>
          </p:nvPr>
        </p:nvSpPr>
        <p:spPr>
          <a:xfrm>
            <a:off x="2071670" y="2970791"/>
            <a:ext cx="6786610" cy="1142185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3"/>
            </p:custDataLst>
          </p:nvPr>
        </p:nvCxnSpPr>
        <p:spPr>
          <a:xfrm>
            <a:off x="4357686" y="3013535"/>
            <a:ext cx="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4"/>
            </p:custDataLst>
          </p:nvPr>
        </p:nvCxnSpPr>
        <p:spPr>
          <a:xfrm>
            <a:off x="6643702" y="3013535"/>
            <a:ext cx="1482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6" descr="http://mediasubs.ru/group/uploads/li/lichnostnyij-rost-i-finansyi/image2/ItMDliMWJ.jpg">
            <a:hlinkClick r:id="rId36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214282" y="1071546"/>
            <a:ext cx="1643074" cy="1215876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16"/>
            </p:custDataLst>
          </p:nvPr>
        </p:nvSpPr>
        <p:spPr>
          <a:xfrm>
            <a:off x="2071670" y="4155350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17"/>
            </p:custDataLst>
            <p:extLst>
              <p:ext uri="{D42A27DB-BD31-4B8C-83A1-F6EECF244321}">
                <p14:modId xmlns="" xmlns:p14="http://schemas.microsoft.com/office/powerpoint/2010/main" val="1898590413"/>
              </p:ext>
            </p:extLst>
          </p:nvPr>
        </p:nvGraphicFramePr>
        <p:xfrm>
          <a:off x="2071670" y="4155350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-14290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pic>
        <p:nvPicPr>
          <p:cNvPr id="125959" name="Picture 7" descr="http://ivbb.ru/domain_dependent/ivbb.ru/uploadify/3d5b9ce52a570d78e6b4bf7f07f18550.jpg">
            <a:hlinkClick r:id="rId38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единительная линия 36"/>
          <p:cNvCxnSpPr/>
          <p:nvPr>
            <p:custDataLst>
              <p:tags r:id="rId20"/>
            </p:custDataLst>
          </p:nvPr>
        </p:nvCxnSpPr>
        <p:spPr>
          <a:xfrm>
            <a:off x="4357686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572264" y="2928934"/>
            <a:ext cx="235004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Закрытие </a:t>
            </a:r>
            <a:r>
              <a:rPr lang="ru-RU" sz="1200" dirty="0" err="1" smtClean="0">
                <a:latin typeface="+mn-lt"/>
              </a:rPr>
              <a:t>Черкизовского</a:t>
            </a:r>
            <a:r>
              <a:rPr lang="ru-RU" sz="1200" dirty="0" smtClean="0">
                <a:latin typeface="+mn-lt"/>
              </a:rPr>
              <a:t> и Измайловского рынков, закрытие «Лужников», планируемое закрытие вещевых рынков к 2015 г.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47" name="Прямая соединительная линия 46"/>
          <p:cNvCxnSpPr/>
          <p:nvPr>
            <p:custDataLst>
              <p:tags r:id="rId22"/>
            </p:custDataLst>
          </p:nvPr>
        </p:nvCxnSpPr>
        <p:spPr>
          <a:xfrm>
            <a:off x="6658522" y="3870790"/>
            <a:ext cx="2199758" cy="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трелка вниз 47"/>
          <p:cNvSpPr/>
          <p:nvPr>
            <p:custDataLst>
              <p:tags r:id="rId23"/>
            </p:custDataLst>
          </p:nvPr>
        </p:nvSpPr>
        <p:spPr>
          <a:xfrm rot="10800000">
            <a:off x="7236296" y="1928802"/>
            <a:ext cx="1143008" cy="13204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>
            <p:custDataLst>
              <p:tags r:id="rId24"/>
            </p:custDataLst>
          </p:nvPr>
        </p:nvSpPr>
        <p:spPr>
          <a:xfrm>
            <a:off x="4429124" y="5500702"/>
            <a:ext cx="2071702" cy="71438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Высокий уровень преступности напрямую повышает риски ведения торговой деятельности</a:t>
            </a:r>
          </a:p>
        </p:txBody>
      </p:sp>
      <p:sp>
        <p:nvSpPr>
          <p:cNvPr id="55" name="Стрелка вниз 54"/>
          <p:cNvSpPr/>
          <p:nvPr>
            <p:custDataLst>
              <p:tags r:id="rId25"/>
            </p:custDataLst>
          </p:nvPr>
        </p:nvSpPr>
        <p:spPr>
          <a:xfrm>
            <a:off x="4857752" y="4984950"/>
            <a:ext cx="1143008" cy="44431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>
            <p:custDataLst>
              <p:tags r:id="rId26"/>
            </p:custDataLst>
          </p:nvPr>
        </p:nvSpPr>
        <p:spPr>
          <a:xfrm>
            <a:off x="6643702" y="785794"/>
            <a:ext cx="2214578" cy="107157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Снижение криминогенной обстановки, устранение нарушений законодательства и недобросовестной конкуренции (демпинг)</a:t>
            </a:r>
          </a:p>
        </p:txBody>
      </p:sp>
      <p:sp>
        <p:nvSpPr>
          <p:cNvPr id="61" name="Прямоугольник 60"/>
          <p:cNvSpPr/>
          <p:nvPr>
            <p:custDataLst>
              <p:tags r:id="rId27"/>
            </p:custDataLst>
          </p:nvPr>
        </p:nvSpPr>
        <p:spPr>
          <a:xfrm>
            <a:off x="4357686" y="3240945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Уличная преступность </a:t>
            </a:r>
            <a:r>
              <a:rPr lang="en-US" sz="1200" dirty="0" smtClean="0">
                <a:latin typeface="+mn-lt"/>
              </a:rPr>
              <a:t> </a:t>
            </a:r>
            <a:r>
              <a:rPr lang="ru-RU" sz="1200" dirty="0" smtClean="0">
                <a:latin typeface="+mn-lt"/>
              </a:rPr>
              <a:t>по данным на конец 2012 г. возросла почти на четверть по сравнению с 2011 г.</a:t>
            </a:r>
            <a:endParaRPr lang="ru-RU" sz="1200" dirty="0">
              <a:latin typeface="+mn-lt"/>
            </a:endParaRPr>
          </a:p>
        </p:txBody>
      </p:sp>
      <p:sp>
        <p:nvSpPr>
          <p:cNvPr id="36" name="TextBox 17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информационный ресурс 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www.m24.ru</a:t>
            </a:r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cxnSp>
        <p:nvCxnSpPr>
          <p:cNvPr id="35" name="Прямая соединительная линия 34"/>
          <p:cNvCxnSpPr/>
          <p:nvPr>
            <p:custDataLst>
              <p:tags r:id="rId29"/>
            </p:custDataLst>
          </p:nvPr>
        </p:nvCxnSpPr>
        <p:spPr>
          <a:xfrm>
            <a:off x="2071670" y="3857628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>
            <p:custDataLst>
              <p:tags r:id="rId30"/>
            </p:custDataLst>
          </p:nvPr>
        </p:nvSpPr>
        <p:spPr>
          <a:xfrm>
            <a:off x="2071670" y="3071810"/>
            <a:ext cx="22860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Информационный портал «Наш город» </a:t>
            </a:r>
          </a:p>
          <a:p>
            <a:pPr algn="ctr"/>
            <a:r>
              <a:rPr lang="ru-RU" sz="1200" dirty="0" smtClean="0">
                <a:latin typeface="+mn-lt"/>
              </a:rPr>
              <a:t>( и аналогичные проекты)</a:t>
            </a:r>
            <a:endParaRPr lang="ru-RU" sz="1200" dirty="0">
              <a:latin typeface="+mn-lt"/>
            </a:endParaRPr>
          </a:p>
        </p:txBody>
      </p:sp>
      <p:sp>
        <p:nvSpPr>
          <p:cNvPr id="45" name="Стрелка вниз 44"/>
          <p:cNvSpPr/>
          <p:nvPr>
            <p:custDataLst>
              <p:tags r:id="rId31"/>
            </p:custDataLst>
          </p:nvPr>
        </p:nvSpPr>
        <p:spPr>
          <a:xfrm rot="10800000">
            <a:off x="2735702" y="1928802"/>
            <a:ext cx="1143008" cy="13204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>
            <p:custDataLst>
              <p:tags r:id="rId32"/>
            </p:custDataLst>
          </p:nvPr>
        </p:nvSpPr>
        <p:spPr>
          <a:xfrm>
            <a:off x="2143108" y="785794"/>
            <a:ext cx="2214578" cy="107157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Снижение социальной напряженности за счет возможности жалоб на незаконно размещенные и не соблюдающие профиль деятельности объекты </a:t>
            </a:r>
            <a:endParaRPr lang="ru-RU" sz="1200" dirty="0" smtClean="0">
              <a:solidFill>
                <a:schemeClr val="tx1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18" imgW="270" imgH="27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Динамика факторов инфраструктуры </a:t>
            </a:r>
            <a:r>
              <a:rPr lang="ru-RU" dirty="0" smtClean="0">
                <a:latin typeface="+mj-lt"/>
              </a:rPr>
              <a:t>оказывает положительное воздействие на субъектов МСП г. Москвы в </a:t>
            </a:r>
            <a:r>
              <a:rPr lang="ru-RU" dirty="0" smtClean="0"/>
              <a:t>сегменте «Оптовая и розничная торговля»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2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Инфраструктур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586215" y="2586091"/>
            <a:ext cx="1542942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5872231" y="2586091"/>
            <a:ext cx="1542942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6" descr="http://mediasubs.ru/group/uploads/li/lichnostnyij-rost-i-finansyi/image2/ItMDliMWJ.jpg">
            <a:hlinkClick r:id="rId1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32" name="Rectangle 19"/>
          <p:cNvSpPr/>
          <p:nvPr>
            <p:custDataLst>
              <p:tags r:id="rId12"/>
            </p:custDataLst>
          </p:nvPr>
        </p:nvSpPr>
        <p:spPr>
          <a:xfrm>
            <a:off x="2071670" y="1771876"/>
            <a:ext cx="6786610" cy="1657124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357686" y="1785926"/>
            <a:ext cx="2286016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Создание эффективной инфраструктуры оптовой торговли как одна из задач подпрограммы «Развитие оптовой и розничной торговли, общественного питания и бытовых услуг г. Москвы на 2012-2016 гг.»</a:t>
            </a:r>
          </a:p>
        </p:txBody>
      </p:sp>
      <p:sp>
        <p:nvSpPr>
          <p:cNvPr id="26" name="Стрелка вниз 25"/>
          <p:cNvSpPr/>
          <p:nvPr/>
        </p:nvSpPr>
        <p:spPr>
          <a:xfrm>
            <a:off x="4929190" y="3571876"/>
            <a:ext cx="1214446" cy="1500198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500562" y="5199419"/>
            <a:ext cx="2033894" cy="1015663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нижение издержек бизнеса, ввод дополнительных складских площадей, создание новых площадок для сбыта</a:t>
            </a:r>
          </a:p>
        </p:txBody>
      </p:sp>
      <p:sp>
        <p:nvSpPr>
          <p:cNvPr id="22" name="TextBox 1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Развитие оптовой и розничной торговли, общественного питания и бытовых услуг города Москвы на 2012-2016 г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321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выявлена средняя степень воздействия указанных факторов на субъекты МСП г. Москвы в </a:t>
            </a:r>
            <a:r>
              <a:rPr lang="ru-RU" dirty="0" smtClean="0"/>
              <a:t>сегменте «Оптовая и розничная торговля»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3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0"/>
          <a:ext cx="8572560" cy="52864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883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2883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2827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91145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51929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64294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000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руппа факторов требует детального понимания, в связи с чем планируется выявление степени востребованности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7157" y="2000240"/>
            <a:ext cx="1500199" cy="142876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35%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85720" y="3500438"/>
            <a:ext cx="2928958" cy="150019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0%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57158" y="5143512"/>
            <a:ext cx="2918698" cy="1000132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0%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643438" y="5143512"/>
            <a:ext cx="3384946" cy="50006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76%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643438" y="1500174"/>
            <a:ext cx="2160810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46%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43438" y="2071678"/>
            <a:ext cx="2808882" cy="571504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0%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643438" y="2786058"/>
            <a:ext cx="1728762" cy="571504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39%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57158" y="1500174"/>
            <a:ext cx="3278738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7%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0538" name="think-cell Slide" r:id="rId19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вопросов проводимого исследования может быть эффективно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100010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100010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0" name="Rectangle 19"/>
          <p:cNvSpPr/>
          <p:nvPr>
            <p:custDataLst>
              <p:tags r:id="rId6"/>
            </p:custDataLst>
          </p:nvPr>
        </p:nvSpPr>
        <p:spPr>
          <a:xfrm>
            <a:off x="2143108" y="185736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1181385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, </a:t>
            </a:r>
            <a:r>
              <a:rPr lang="ru-RU" sz="1200" dirty="0">
                <a:latin typeface="+mn-lt"/>
              </a:rPr>
              <a:t>способствующие формированию точек роста субъектов МСП в </a:t>
            </a:r>
            <a:r>
              <a:rPr lang="ru-RU" sz="1200" dirty="0" smtClean="0">
                <a:latin typeface="+mn-lt"/>
              </a:rPr>
              <a:t>торговле </a:t>
            </a:r>
            <a:r>
              <a:rPr lang="ru-RU" sz="1200" dirty="0">
                <a:latin typeface="+mn-lt"/>
              </a:rPr>
              <a:t>остались </a:t>
            </a:r>
            <a:r>
              <a:rPr lang="ru-RU" sz="1200" dirty="0" smtClean="0">
                <a:latin typeface="+mn-lt"/>
              </a:rPr>
              <a:t>нерассмотренным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2818953"/>
            <a:ext cx="6572296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, на Ваш взгляд, точки роста субъектов МСП могут сформироваться в будущем в торговле?</a:t>
            </a: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озможно ли формирование новых успешных </a:t>
            </a:r>
            <a:r>
              <a:rPr lang="ru-RU" sz="1200" dirty="0" err="1" smtClean="0">
                <a:latin typeface="+mn-lt"/>
              </a:rPr>
              <a:t>бизнес-моделей</a:t>
            </a:r>
            <a:r>
              <a:rPr lang="ru-RU" sz="1200" dirty="0" smtClean="0">
                <a:latin typeface="+mn-lt"/>
              </a:rPr>
              <a:t>?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108" y="3714752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 в торговле?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43108" y="4572008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факторы внешней среды необходимо развивать для того, чтобы сформировались новые точки роста и продолжалась динамика текущих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3108" y="5429264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1071546"/>
            <a:ext cx="429163" cy="642942"/>
          </a:xfrm>
          <a:prstGeom prst="rect">
            <a:avLst/>
          </a:prstGeom>
          <a:noFill/>
        </p:spPr>
      </p:pic>
      <p:sp>
        <p:nvSpPr>
          <p:cNvPr id="29" name="Rectangle 19"/>
          <p:cNvSpPr/>
          <p:nvPr>
            <p:custDataLst>
              <p:tags r:id="rId12"/>
            </p:custDataLst>
          </p:nvPr>
        </p:nvSpPr>
        <p:spPr>
          <a:xfrm>
            <a:off x="2143108" y="2714620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1" name="Rectangle 19"/>
          <p:cNvSpPr/>
          <p:nvPr>
            <p:custDataLst>
              <p:tags r:id="rId13"/>
            </p:custDataLst>
          </p:nvPr>
        </p:nvSpPr>
        <p:spPr>
          <a:xfrm>
            <a:off x="2143108" y="3571876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143108" y="442913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5"/>
            </p:custDataLst>
          </p:nvPr>
        </p:nvSpPr>
        <p:spPr>
          <a:xfrm>
            <a:off x="2143108" y="528638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4" name="Pentagon 18"/>
          <p:cNvSpPr/>
          <p:nvPr/>
        </p:nvSpPr>
        <p:spPr>
          <a:xfrm>
            <a:off x="214282" y="185736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7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1928802"/>
            <a:ext cx="429163" cy="642942"/>
          </a:xfrm>
          <a:prstGeom prst="rect">
            <a:avLst/>
          </a:prstGeom>
          <a:noFill/>
        </p:spPr>
      </p:pic>
      <p:sp>
        <p:nvSpPr>
          <p:cNvPr id="38" name="Pentagon 18"/>
          <p:cNvSpPr/>
          <p:nvPr/>
        </p:nvSpPr>
        <p:spPr>
          <a:xfrm>
            <a:off x="214282" y="2714620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1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2786058"/>
            <a:ext cx="429163" cy="642942"/>
          </a:xfrm>
          <a:prstGeom prst="rect">
            <a:avLst/>
          </a:prstGeom>
          <a:noFill/>
        </p:spPr>
      </p:pic>
      <p:sp>
        <p:nvSpPr>
          <p:cNvPr id="42" name="Pentagon 18"/>
          <p:cNvSpPr/>
          <p:nvPr/>
        </p:nvSpPr>
        <p:spPr>
          <a:xfrm>
            <a:off x="214282" y="3571876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3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3643314"/>
            <a:ext cx="429163" cy="642942"/>
          </a:xfrm>
          <a:prstGeom prst="rect">
            <a:avLst/>
          </a:prstGeom>
          <a:noFill/>
        </p:spPr>
      </p:pic>
      <p:sp>
        <p:nvSpPr>
          <p:cNvPr id="50" name="Pentagon 18"/>
          <p:cNvSpPr/>
          <p:nvPr/>
        </p:nvSpPr>
        <p:spPr>
          <a:xfrm>
            <a:off x="214282" y="442913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1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4500570"/>
            <a:ext cx="429163" cy="642942"/>
          </a:xfrm>
          <a:prstGeom prst="rect">
            <a:avLst/>
          </a:prstGeom>
          <a:noFill/>
        </p:spPr>
      </p:pic>
      <p:sp>
        <p:nvSpPr>
          <p:cNvPr id="52" name="Pentagon 18"/>
          <p:cNvSpPr/>
          <p:nvPr/>
        </p:nvSpPr>
        <p:spPr>
          <a:xfrm>
            <a:off x="214282" y="528638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4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5357826"/>
            <a:ext cx="429163" cy="642942"/>
          </a:xfrm>
          <a:prstGeom prst="rect">
            <a:avLst/>
          </a:prstGeom>
          <a:noFill/>
        </p:spPr>
      </p:pic>
      <p:sp>
        <p:nvSpPr>
          <p:cNvPr id="55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43108" y="2000240"/>
            <a:ext cx="65722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 на Ваш взгляд являются наиболее успешными в торговле? Возникали ли за последние 3-4 года новые успешны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 в данном сегменте?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1794" name="think-cell Slide" r:id="rId23" imgW="270" imgH="270" progId="TCLayout.ActiveDocument.1">
              <p:embed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5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6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риложение 1. Методика выявление и исследование точек роста субъектов МСП за последние 3 года в разрезе разных отраслей по разработанной методике</a:t>
            </a:r>
            <a:endParaRPr lang="ru-RU" b="1" dirty="0">
              <a:latin typeface="+mj-lt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5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4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65" name="think-cell Slide" r:id="rId16" imgW="270" imgH="27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00372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85725" indent="-85725" algn="just"/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нализ </a:t>
            </a:r>
            <a:r>
              <a:rPr lang="ru-RU" sz="1200" dirty="0" smtClean="0">
                <a:solidFill>
                  <a:schemeClr val="tx1"/>
                </a:solidFill>
              </a:rPr>
              <a:t>российского и зарубежного опыта исследований предпринимательской сред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82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каждой выявленной точки роста субъектов МСП г. Москвы анализируются группы внешних факторов среды, способных оказать существенное воздействие на их формировани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2"/>
          <a:ext cx="8572560" cy="5214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178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783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006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274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3121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71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43" name="think-cell Slide" r:id="rId1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сегменте «Оптовая торговля» </a:t>
            </a:r>
            <a:r>
              <a:rPr lang="ru-RU" dirty="0" smtClean="0"/>
              <a:t>точек роста субъектов МСП г. Москвы не выявлено</a:t>
            </a:r>
            <a:endParaRPr lang="ru-RU" b="1" dirty="0" smtClean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588" y="6326051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6"/>
            </p:custDataLst>
          </p:nvPr>
        </p:nvSpPr>
        <p:spPr>
          <a:xfrm>
            <a:off x="6643702" y="1714488"/>
            <a:ext cx="221457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7"/>
            </p:custDataLst>
          </p:nvPr>
        </p:nvSpPr>
        <p:spPr>
          <a:xfrm>
            <a:off x="6643702" y="857232"/>
            <a:ext cx="221457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ыделены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сегменты, характеризующиеся высокими темпами роста по всем показателям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8"/>
            </p:custDataLst>
          </p:nvPr>
        </p:nvSpPr>
        <p:spPr>
          <a:xfrm>
            <a:off x="264220" y="1335068"/>
            <a:ext cx="316477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9"/>
            </p:custDataLst>
          </p:nvPr>
        </p:nvSpPr>
        <p:spPr>
          <a:xfrm>
            <a:off x="264220" y="857232"/>
            <a:ext cx="3164771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Исследованы компании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различных </a:t>
            </a:r>
            <a:r>
              <a:rPr kumimoji="0" lang="ru-RU" sz="1200" b="1" i="0" u="none" strike="noStrike" kern="0" cap="none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подсегментов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птовой 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торговли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60" name="Равнобедренный треугольник 59"/>
          <p:cNvSpPr/>
          <p:nvPr>
            <p:custDataLst>
              <p:tags r:id="rId10"/>
            </p:custDataLst>
          </p:nvPr>
        </p:nvSpPr>
        <p:spPr>
          <a:xfrm rot="5400000">
            <a:off x="2301025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7" name="Равнобедренный треугольник 66"/>
          <p:cNvSpPr/>
          <p:nvPr>
            <p:custDataLst>
              <p:tags r:id="rId11"/>
            </p:custDataLst>
          </p:nvPr>
        </p:nvSpPr>
        <p:spPr>
          <a:xfrm rot="5400000">
            <a:off x="5158545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12"/>
            </p:custDataLst>
          </p:nvPr>
        </p:nvSpPr>
        <p:spPr>
          <a:xfrm>
            <a:off x="3786182" y="1714488"/>
            <a:ext cx="257176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13"/>
            </p:custDataLst>
          </p:nvPr>
        </p:nvSpPr>
        <p:spPr>
          <a:xfrm>
            <a:off x="3786182" y="857232"/>
            <a:ext cx="257176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Calibri"/>
                <a:ea typeface="Tahoma"/>
                <a:cs typeface="Arial"/>
                <a:sym typeface="Arial"/>
              </a:rPr>
              <a:t>Темпы роста сегмента </a:t>
            </a:r>
            <a:r>
              <a:rPr lang="ru-RU" sz="1200" b="1" kern="0" dirty="0" smtClean="0">
                <a:solidFill>
                  <a:srgbClr val="FFFFFF"/>
                </a:solidFill>
                <a:latin typeface="Calibri"/>
                <a:ea typeface="Tahoma"/>
                <a:cs typeface="Arial"/>
                <a:sym typeface="Arial"/>
              </a:rPr>
              <a:t>оптовой </a:t>
            </a:r>
            <a:r>
              <a:rPr lang="ru-RU" sz="1200" b="1" kern="0" dirty="0" smtClean="0">
                <a:solidFill>
                  <a:srgbClr val="FFFFFF"/>
                </a:solidFill>
                <a:latin typeface="Calibri"/>
                <a:ea typeface="Tahoma"/>
                <a:cs typeface="Arial"/>
                <a:sym typeface="Arial"/>
              </a:rPr>
              <a:t>торговли ниже среднерыночных</a:t>
            </a:r>
          </a:p>
        </p:txBody>
      </p:sp>
      <p:sp>
        <p:nvSpPr>
          <p:cNvPr id="73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000496" y="1785926"/>
            <a:ext cx="2214578" cy="34317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ручка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2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Чистая прибыль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26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сновные средства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31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боротные активы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8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питал и резервы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15%</a:t>
            </a:r>
            <a:endParaRPr lang="ru-RU" sz="12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b="1" dirty="0" smtClean="0">
              <a:latin typeface="+mn-lt"/>
            </a:endParaRPr>
          </a:p>
        </p:txBody>
      </p:sp>
      <p:sp>
        <p:nvSpPr>
          <p:cNvPr id="5" name="Rectangle 4">
            <a:hlinkClick r:id="rId19"/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Rectangle 5">
            <a:hlinkClick r:id="rId19"/>
          </p:cNvPr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Rectangle 6">
            <a:hlinkClick r:id="rId19"/>
          </p:cNvPr>
          <p:cNvSpPr>
            <a:spLocks noChangeArrowheads="1"/>
          </p:cNvSpPr>
          <p:nvPr/>
        </p:nvSpPr>
        <p:spPr bwMode="auto">
          <a:xfrm>
            <a:off x="304800" y="3048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1" name="Rectangle 7">
            <a:hlinkClick r:id="rId19"/>
          </p:cNvPr>
          <p:cNvSpPr>
            <a:spLocks noChangeArrowheads="1"/>
          </p:cNvSpPr>
          <p:nvPr/>
        </p:nvSpPr>
        <p:spPr bwMode="auto">
          <a:xfrm>
            <a:off x="45720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357159" y="1857364"/>
            <a:ext cx="2928958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Оптовая торговля через агентов</a:t>
            </a:r>
          </a:p>
          <a:p>
            <a:r>
              <a:rPr lang="ru-RU" sz="1200" b="1" dirty="0" smtClean="0">
                <a:latin typeface="+mn-lt"/>
              </a:rPr>
              <a:t>– 194 компании</a:t>
            </a:r>
          </a:p>
          <a:p>
            <a:pPr>
              <a:buFontTx/>
              <a:buChar char="-"/>
            </a:pPr>
            <a:endParaRPr lang="ru-RU" sz="1200" dirty="0" smtClean="0">
              <a:latin typeface="+mn-lt"/>
            </a:endParaRPr>
          </a:p>
          <a:p>
            <a:r>
              <a:rPr lang="ru-RU" sz="1200" dirty="0" smtClean="0">
                <a:latin typeface="+mn-lt"/>
              </a:rPr>
              <a:t>Оптовая торговля сельскохозяйственным сырьем и живыми животными</a:t>
            </a:r>
          </a:p>
          <a:p>
            <a:r>
              <a:rPr lang="ru-RU" sz="1200" b="1" dirty="0" smtClean="0">
                <a:latin typeface="+mn-lt"/>
              </a:rPr>
              <a:t>– 132 компании</a:t>
            </a:r>
          </a:p>
          <a:p>
            <a:pPr>
              <a:buFontTx/>
              <a:buChar char="-"/>
            </a:pPr>
            <a:endParaRPr lang="ru-RU" sz="1200" dirty="0" smtClean="0">
              <a:latin typeface="+mn-lt"/>
            </a:endParaRPr>
          </a:p>
          <a:p>
            <a:r>
              <a:rPr lang="ru-RU" sz="1200" dirty="0" smtClean="0">
                <a:latin typeface="+mn-lt"/>
              </a:rPr>
              <a:t>Оптовая торговля пищевыми продуктами, включая напитки, и табачными изделиями</a:t>
            </a:r>
          </a:p>
          <a:p>
            <a:r>
              <a:rPr lang="ru-RU" sz="1200" b="1" dirty="0" smtClean="0">
                <a:latin typeface="+mn-lt"/>
              </a:rPr>
              <a:t>– 191 компания</a:t>
            </a:r>
          </a:p>
          <a:p>
            <a:pPr>
              <a:buFontTx/>
              <a:buChar char="-"/>
            </a:pPr>
            <a:endParaRPr lang="ru-RU" sz="1200" dirty="0" smtClean="0">
              <a:latin typeface="+mn-lt"/>
            </a:endParaRPr>
          </a:p>
          <a:p>
            <a:r>
              <a:rPr lang="ru-RU" sz="1200" dirty="0" smtClean="0">
                <a:latin typeface="+mn-lt"/>
              </a:rPr>
              <a:t>Оптовая торговля непродовольственными потребительскими товарами</a:t>
            </a:r>
          </a:p>
          <a:p>
            <a:r>
              <a:rPr lang="ru-RU" sz="1200" b="1" dirty="0" smtClean="0">
                <a:latin typeface="+mn-lt"/>
              </a:rPr>
              <a:t>– 143 компании</a:t>
            </a:r>
          </a:p>
          <a:p>
            <a:pPr>
              <a:buFontTx/>
              <a:buChar char="-"/>
            </a:pPr>
            <a:endParaRPr lang="ru-RU" sz="1200" dirty="0" smtClean="0">
              <a:latin typeface="+mn-lt"/>
            </a:endParaRPr>
          </a:p>
          <a:p>
            <a:r>
              <a:rPr lang="ru-RU" sz="1200" dirty="0" smtClean="0">
                <a:latin typeface="+mn-lt"/>
              </a:rPr>
              <a:t>Оптовая торговля несельскохозяйственными промежуточными продуктами, отходами и ломом</a:t>
            </a:r>
          </a:p>
          <a:p>
            <a:r>
              <a:rPr lang="ru-RU" sz="1200" b="1" dirty="0" smtClean="0">
                <a:latin typeface="+mn-lt"/>
              </a:rPr>
              <a:t>– 133 компании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786578" y="3000372"/>
            <a:ext cx="1857388" cy="121444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Достаточно успешно развивается оптовая </a:t>
            </a:r>
            <a:r>
              <a:rPr lang="ru-RU" sz="1200" dirty="0" smtClean="0">
                <a:solidFill>
                  <a:schemeClr val="tx1"/>
                </a:solidFill>
              </a:rPr>
              <a:t>торговля сельскохозяйственным сырьем и живыми животными</a:t>
            </a:r>
          </a:p>
        </p:txBody>
      </p:sp>
      <p:pic>
        <p:nvPicPr>
          <p:cNvPr id="103445" name="Picture 21" descr="http://www.hrackyprotebe.cz/pic_zbozi/h4005086136335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143768" y="4286256"/>
            <a:ext cx="1158546" cy="928694"/>
          </a:xfrm>
          <a:prstGeom prst="rect">
            <a:avLst/>
          </a:prstGeom>
          <a:noFill/>
        </p:spPr>
      </p:pic>
      <p:sp>
        <p:nvSpPr>
          <p:cNvPr id="24" name="Скругленный прямоугольник 23"/>
          <p:cNvSpPr/>
          <p:nvPr/>
        </p:nvSpPr>
        <p:spPr>
          <a:xfrm>
            <a:off x="6786578" y="1857364"/>
            <a:ext cx="1857388" cy="78581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Масштабных точек роста не выявлено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6643702" y="2857496"/>
            <a:ext cx="221457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7" descr="http://ivbb.ru/domain_dependent/ivbb.ru/uploadify/3d5b9ce52a570d78e6b4bf7f07f18550.jpg">
            <a:hlinkClick r:id="rId21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810" y="5000636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2580" name="think-cell Slide" r:id="rId19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сегменте «Розничная торговля» точек роста субъектов МСП г. Москвы не выявлено</a:t>
            </a: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588" y="6326051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6"/>
            </p:custDataLst>
          </p:nvPr>
        </p:nvSpPr>
        <p:spPr>
          <a:xfrm>
            <a:off x="6643702" y="1714488"/>
            <a:ext cx="221457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7"/>
            </p:custDataLst>
          </p:nvPr>
        </p:nvSpPr>
        <p:spPr>
          <a:xfrm>
            <a:off x="6643702" y="857232"/>
            <a:ext cx="221457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Отдельные группы компаний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характеризуются высокими темпами роста по всем показателям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8"/>
            </p:custDataLst>
          </p:nvPr>
        </p:nvSpPr>
        <p:spPr>
          <a:xfrm>
            <a:off x="264220" y="1335068"/>
            <a:ext cx="316477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9"/>
            </p:custDataLst>
          </p:nvPr>
        </p:nvSpPr>
        <p:spPr>
          <a:xfrm>
            <a:off x="264220" y="857232"/>
            <a:ext cx="3164771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Исследованы компании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различных </a:t>
            </a:r>
            <a:r>
              <a:rPr kumimoji="0" lang="ru-RU" sz="1200" b="1" i="0" u="none" strike="noStrike" kern="0" cap="none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подсегментов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розничной 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торговли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60" name="Равнобедренный треугольник 59"/>
          <p:cNvSpPr/>
          <p:nvPr>
            <p:custDataLst>
              <p:tags r:id="rId10"/>
            </p:custDataLst>
          </p:nvPr>
        </p:nvSpPr>
        <p:spPr>
          <a:xfrm rot="5400000">
            <a:off x="2301025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7" name="Равнобедренный треугольник 66"/>
          <p:cNvSpPr/>
          <p:nvPr>
            <p:custDataLst>
              <p:tags r:id="rId11"/>
            </p:custDataLst>
          </p:nvPr>
        </p:nvSpPr>
        <p:spPr>
          <a:xfrm rot="5400000">
            <a:off x="5158545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12"/>
            </p:custDataLst>
          </p:nvPr>
        </p:nvSpPr>
        <p:spPr>
          <a:xfrm>
            <a:off x="3786182" y="1714488"/>
            <a:ext cx="257176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13"/>
            </p:custDataLst>
          </p:nvPr>
        </p:nvSpPr>
        <p:spPr>
          <a:xfrm>
            <a:off x="3786182" y="857232"/>
            <a:ext cx="257176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Темпы роста сегмента розничной торговли ниже среднерыночных</a:t>
            </a:r>
            <a:endParaRPr kumimoji="0" lang="ru-RU" sz="1200" b="1" i="0" u="none" strike="noStrike" kern="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73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000496" y="1785926"/>
            <a:ext cx="2214578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ручка – </a:t>
            </a:r>
            <a:r>
              <a:rPr lang="ru-RU" sz="1200" b="1" dirty="0" smtClean="0">
                <a:latin typeface="+mn-lt"/>
              </a:rPr>
              <a:t>ниже среднерыночного показателя на 11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Чистая прибыль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40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сновные средства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21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боротные активы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13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питал и резервы – </a:t>
            </a:r>
            <a:r>
              <a:rPr lang="ru-RU" sz="1200" b="1" dirty="0" smtClean="0">
                <a:latin typeface="+mn-lt"/>
              </a:rPr>
              <a:t>ниже среднерыночного показателя на </a:t>
            </a:r>
            <a:r>
              <a:rPr lang="ru-RU" sz="1200" b="1" dirty="0" smtClean="0">
                <a:latin typeface="+mn-lt"/>
              </a:rPr>
              <a:t>20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b="1" dirty="0" smtClean="0">
              <a:latin typeface="+mn-lt"/>
            </a:endParaRPr>
          </a:p>
        </p:txBody>
      </p:sp>
      <p:sp>
        <p:nvSpPr>
          <p:cNvPr id="5" name="Rectangle 4">
            <a:hlinkClick r:id="rId20"/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Rectangle 5">
            <a:hlinkClick r:id="rId20"/>
          </p:cNvPr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Rectangle 6">
            <a:hlinkClick r:id="rId20"/>
          </p:cNvPr>
          <p:cNvSpPr>
            <a:spLocks noChangeArrowheads="1"/>
          </p:cNvSpPr>
          <p:nvPr/>
        </p:nvSpPr>
        <p:spPr bwMode="auto">
          <a:xfrm>
            <a:off x="304800" y="3048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1" name="Rectangle 7">
            <a:hlinkClick r:id="rId20"/>
          </p:cNvPr>
          <p:cNvSpPr>
            <a:spLocks noChangeArrowheads="1"/>
          </p:cNvSpPr>
          <p:nvPr/>
        </p:nvSpPr>
        <p:spPr bwMode="auto">
          <a:xfrm>
            <a:off x="45720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1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85721" y="1714489"/>
            <a:ext cx="3143270" cy="4708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зничная торговля в неспециализированных магазинах </a:t>
            </a:r>
          </a:p>
          <a:p>
            <a:pPr algn="just">
              <a:spcAft>
                <a:spcPts val="600"/>
              </a:spcAft>
            </a:pPr>
            <a:r>
              <a:rPr lang="ru-RU" sz="1200" b="1" dirty="0" smtClean="0">
                <a:latin typeface="+mn-lt"/>
              </a:rPr>
              <a:t>– 302 компании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  <a:latin typeface="Calibri"/>
              </a:rPr>
              <a:t>Розничная торговля пищевыми продуктами, включая напитки, и табачными изделиями в специализированных магазинах</a:t>
            </a:r>
          </a:p>
          <a:p>
            <a:pPr algn="just">
              <a:spcAft>
                <a:spcPts val="600"/>
              </a:spcAft>
            </a:pPr>
            <a:r>
              <a:rPr lang="ru-RU" sz="1200" b="1" dirty="0" smtClean="0">
                <a:latin typeface="+mn-lt"/>
              </a:rPr>
              <a:t>– 127 компаний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  <a:latin typeface="Calibri"/>
              </a:rPr>
              <a:t>Розничная торговля фармацевтическими и медицинскими товарами, косметическими и парфюмерными товарами</a:t>
            </a:r>
          </a:p>
          <a:p>
            <a:pPr algn="just">
              <a:spcAft>
                <a:spcPts val="600"/>
              </a:spcAft>
            </a:pPr>
            <a:r>
              <a:rPr lang="ru-RU" sz="1200" b="1" dirty="0" smtClean="0">
                <a:latin typeface="+mn-lt"/>
              </a:rPr>
              <a:t>– 135 компаний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  <a:latin typeface="Calibri"/>
              </a:rPr>
              <a:t>Прочая розничная торговля в специализированных магазинах</a:t>
            </a:r>
          </a:p>
          <a:p>
            <a:pPr algn="just">
              <a:spcAft>
                <a:spcPts val="600"/>
              </a:spcAft>
            </a:pPr>
            <a:r>
              <a:rPr lang="ru-RU" sz="1200" b="1" dirty="0" smtClean="0">
                <a:latin typeface="+mn-lt"/>
              </a:rPr>
              <a:t>– 249 компаний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  <a:latin typeface="Calibri"/>
              </a:rPr>
              <a:t>Розничная торговля вне магазинов</a:t>
            </a:r>
          </a:p>
          <a:p>
            <a:pPr algn="just">
              <a:spcAft>
                <a:spcPts val="600"/>
              </a:spcAft>
            </a:pPr>
            <a:r>
              <a:rPr lang="ru-RU" sz="1200" b="1" dirty="0" smtClean="0"/>
              <a:t>–</a:t>
            </a:r>
            <a:r>
              <a:rPr lang="ru-RU" sz="1200" b="1" dirty="0" smtClean="0">
                <a:latin typeface="+mn-lt"/>
              </a:rPr>
              <a:t> 84 компании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  <a:latin typeface="Calibri"/>
              </a:rPr>
              <a:t>Ремонт бытовых изделий и предметов личного пользования</a:t>
            </a:r>
          </a:p>
          <a:p>
            <a:pPr algn="just">
              <a:spcAft>
                <a:spcPts val="600"/>
              </a:spcAft>
            </a:pPr>
            <a:r>
              <a:rPr lang="ru-RU" sz="1200" b="1" dirty="0" smtClean="0"/>
              <a:t>– </a:t>
            </a:r>
            <a:r>
              <a:rPr lang="ru-RU" sz="1200" b="1" dirty="0" smtClean="0">
                <a:latin typeface="+mn-lt"/>
              </a:rPr>
              <a:t>38 компаний</a:t>
            </a:r>
          </a:p>
          <a:p>
            <a:pPr algn="just">
              <a:spcAft>
                <a:spcPts val="600"/>
              </a:spcAft>
            </a:pPr>
            <a:endParaRPr lang="ru-RU" sz="1200" b="1" dirty="0" smtClean="0">
              <a:latin typeface="+mn-lt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858016" y="3071810"/>
            <a:ext cx="1857388" cy="78581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Достаточно успешно развиваются интернет -магазины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786578" y="1857364"/>
            <a:ext cx="1857388" cy="78581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Масштабных точек роста не выявлено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6643702" y="2857496"/>
            <a:ext cx="2214578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2582" name="Picture 6" descr="http://www.chudopredki.ru/uploads/posts/2011-10/1318962864_magazin.jpg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/>
          <a:srcRect b="9999"/>
          <a:stretch>
            <a:fillRect/>
          </a:stretch>
        </p:blipFill>
        <p:spPr bwMode="auto">
          <a:xfrm>
            <a:off x="7143768" y="3991640"/>
            <a:ext cx="1315045" cy="1151872"/>
          </a:xfrm>
          <a:prstGeom prst="rect">
            <a:avLst/>
          </a:prstGeom>
          <a:noFill/>
        </p:spPr>
      </p:pic>
      <p:pic>
        <p:nvPicPr>
          <p:cNvPr id="29" name="Picture 7" descr="http://ivbb.ru/domain_dependent/ivbb.ru/uploadify/3d5b9ce52a570d78e6b4bf7f07f18550.jpg">
            <a:hlinkClick r:id="rId23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846" y="5000636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676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6202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субъекты МСП </a:t>
            </a:r>
            <a:r>
              <a:rPr lang="ru-RU" dirty="0" smtClean="0"/>
              <a:t>в исследуемом сегменте </a:t>
            </a:r>
            <a:r>
              <a:rPr lang="ru-RU" dirty="0" smtClean="0">
                <a:latin typeface="+mj-lt"/>
              </a:rPr>
              <a:t>наибольшее воздействие оказывают группы факторов, связанные с инфраструктурой, мероприятиями государственной поддержки, социальной напряженностью, преступностью и неравенством, а также доступом к спросу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По результатам кабинетного исследования и опроса экспертов в формате глубинных интервью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928672"/>
          <a:ext cx="8572560" cy="5214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178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783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71438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006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88274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43121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571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2818" name="think-cell Slide" r:id="rId31" imgW="270" imgH="270" progId="TCLayout.ActiveDocument.1">
              <p:embed/>
            </p:oleObj>
          </a:graphicData>
        </a:graphic>
      </p:graphicFrame>
      <p:pic>
        <p:nvPicPr>
          <p:cNvPr id="42" name="Picture 16" descr="http://mediasubs.ru/group/uploads/li/lichnostnyij-rost-i-finansyi/image2/ItMDliMWJ.jpg">
            <a:hlinkClick r:id="rId32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2500298" y="5286388"/>
            <a:ext cx="1285884" cy="951555"/>
          </a:xfrm>
          <a:prstGeom prst="rect">
            <a:avLst/>
          </a:prstGeom>
          <a:noFill/>
        </p:spPr>
      </p:pic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857232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доступа к спросу характеризуются высоким положительным воздействием на субъектов МСП г. Москвы </a:t>
            </a:r>
            <a:r>
              <a:rPr lang="ru-RU" dirty="0" smtClean="0"/>
              <a:t>в сегменте «Оптовая и розничная торговля»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78579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8"/>
            </p:custDataLst>
          </p:nvPr>
        </p:nvSpPr>
        <p:spPr>
          <a:xfrm>
            <a:off x="71406" y="1714488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частному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42908" y="1000108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0"/>
            </p:custDataLst>
          </p:nvPr>
        </p:nvSpPr>
        <p:spPr>
          <a:xfrm>
            <a:off x="2071670" y="1688897"/>
            <a:ext cx="6786610" cy="1142185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1"/>
            </p:custDataLst>
          </p:nvPr>
        </p:nvCxnSpPr>
        <p:spPr>
          <a:xfrm>
            <a:off x="4357686" y="1731641"/>
            <a:ext cx="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6116494" y="2258849"/>
            <a:ext cx="1054417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372506" y="1643050"/>
            <a:ext cx="227860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уровень платежеспособного </a:t>
            </a:r>
            <a:r>
              <a:rPr lang="ru-RU" sz="1200" dirty="0">
                <a:latin typeface="+mn-lt"/>
              </a:rPr>
              <a:t>спроса </a:t>
            </a:r>
            <a:r>
              <a:rPr lang="ru-RU" sz="1200" dirty="0" smtClean="0">
                <a:latin typeface="+mn-lt"/>
              </a:rPr>
              <a:t>(рост </a:t>
            </a:r>
            <a:r>
              <a:rPr lang="ru-RU" sz="1200" dirty="0">
                <a:latin typeface="+mn-lt"/>
              </a:rPr>
              <a:t>реальных располагаемых доходов </a:t>
            </a:r>
            <a:r>
              <a:rPr lang="ru-RU" sz="1200" dirty="0" smtClean="0">
                <a:latin typeface="+mn-lt"/>
              </a:rPr>
              <a:t>на 13,8% за 2009-2012</a:t>
            </a:r>
            <a:r>
              <a:rPr lang="ru-RU" sz="1200" dirty="0" smtClean="0">
                <a:latin typeface="+mn-lt"/>
                <a:sym typeface="Wingdings 2"/>
              </a:rPr>
              <a:t></a:t>
            </a:r>
            <a:r>
              <a:rPr lang="ru-RU" sz="1200" dirty="0" smtClean="0">
                <a:latin typeface="+mn-lt"/>
              </a:rPr>
              <a:t>гг., высокий уровень зарплат населения).</a:t>
            </a:r>
            <a:endParaRPr lang="en-US" sz="1200" dirty="0" smtClean="0">
              <a:latin typeface="+mn-lt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643702" y="1929403"/>
            <a:ext cx="227860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ая концентрация населения в г. Москве (до 20 млн человек)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Pentagon 18"/>
          <p:cNvSpPr/>
          <p:nvPr>
            <p:custDataLst>
              <p:tags r:id="rId15"/>
            </p:custDataLst>
          </p:nvPr>
        </p:nvSpPr>
        <p:spPr>
          <a:xfrm>
            <a:off x="71406" y="2939501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государственному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55" name="Rectangle 19"/>
          <p:cNvSpPr/>
          <p:nvPr>
            <p:custDataLst>
              <p:tags r:id="rId16"/>
            </p:custDataLst>
          </p:nvPr>
        </p:nvSpPr>
        <p:spPr>
          <a:xfrm>
            <a:off x="2071670" y="2913910"/>
            <a:ext cx="6786610" cy="1142185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1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643702" y="3000372"/>
            <a:ext cx="221457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масштабы государственных закупок (общие расходы бюджета г. Москвы в 2012 г. – 1,7 </a:t>
            </a:r>
            <a:r>
              <a:rPr lang="ru-RU" sz="1200" dirty="0" err="1" smtClean="0">
                <a:latin typeface="+mn-lt"/>
              </a:rPr>
              <a:t>трлн</a:t>
            </a:r>
            <a:r>
              <a:rPr lang="ru-RU" sz="1200" dirty="0" smtClean="0">
                <a:latin typeface="+mn-lt"/>
              </a:rPr>
              <a:t> руб.)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62" name="Прямая соединительная линия 61"/>
          <p:cNvCxnSpPr/>
          <p:nvPr>
            <p:custDataLst>
              <p:tags r:id="rId18"/>
            </p:custDataLst>
          </p:nvPr>
        </p:nvCxnSpPr>
        <p:spPr>
          <a:xfrm>
            <a:off x="4357686" y="2928934"/>
            <a:ext cx="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>
            <p:custDataLst>
              <p:tags r:id="rId19"/>
            </p:custDataLst>
          </p:nvPr>
        </p:nvCxnSpPr>
        <p:spPr>
          <a:xfrm rot="5400000">
            <a:off x="6129701" y="3486502"/>
            <a:ext cx="1028005" cy="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Pentagon 18"/>
          <p:cNvSpPr/>
          <p:nvPr>
            <p:custDataLst>
              <p:tags r:id="rId20"/>
            </p:custDataLst>
          </p:nvPr>
        </p:nvSpPr>
        <p:spPr>
          <a:xfrm>
            <a:off x="71406" y="4168971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корпоративному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70" name="Rectangle 19"/>
          <p:cNvSpPr/>
          <p:nvPr>
            <p:custDataLst>
              <p:tags r:id="rId21"/>
            </p:custDataLst>
          </p:nvPr>
        </p:nvSpPr>
        <p:spPr>
          <a:xfrm>
            <a:off x="2071670" y="4143380"/>
            <a:ext cx="6786610" cy="1142185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1" name="TextBox 3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357686" y="4357694"/>
            <a:ext cx="227860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уровень деловой активности (236 тыс. МСП, 81 тыс. ИП)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72" name="Прямая соединительная линия 71"/>
          <p:cNvCxnSpPr/>
          <p:nvPr>
            <p:custDataLst>
              <p:tags r:id="rId23"/>
            </p:custDataLst>
          </p:nvPr>
        </p:nvCxnSpPr>
        <p:spPr>
          <a:xfrm>
            <a:off x="4357686" y="4158404"/>
            <a:ext cx="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>
            <p:custDataLst>
              <p:tags r:id="rId24"/>
            </p:custDataLst>
          </p:nvPr>
        </p:nvCxnSpPr>
        <p:spPr>
          <a:xfrm rot="5400000">
            <a:off x="6129701" y="4715972"/>
            <a:ext cx="1028005" cy="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Стрелка вниз 73"/>
          <p:cNvSpPr/>
          <p:nvPr>
            <p:custDataLst>
              <p:tags r:id="rId25"/>
            </p:custDataLst>
          </p:nvPr>
        </p:nvSpPr>
        <p:spPr>
          <a:xfrm>
            <a:off x="4857752" y="5357826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Стрелка вниз 74"/>
          <p:cNvSpPr/>
          <p:nvPr>
            <p:custDataLst>
              <p:tags r:id="rId26"/>
            </p:custDataLst>
          </p:nvPr>
        </p:nvSpPr>
        <p:spPr>
          <a:xfrm>
            <a:off x="7215206" y="5357826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TextBox 30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286248" y="5786455"/>
            <a:ext cx="4572032" cy="46166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асштабный рынок сбыта (более 30% общероссийского объема розничного товарооборота и более 40% – оптового)</a:t>
            </a:r>
          </a:p>
        </p:txBody>
      </p:sp>
      <p:sp>
        <p:nvSpPr>
          <p:cNvPr id="77" name="TextBox 17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Торгово-промышленные ведомости, издание ТПП РФ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842" name="think-cell Slide" r:id="rId39" imgW="270" imgH="270" progId="TCLayout.ActiveDocument.1">
              <p:embed/>
            </p:oleObj>
          </a:graphicData>
        </a:graphic>
      </p:graphicFrame>
      <p:sp>
        <p:nvSpPr>
          <p:cNvPr id="50" name="Прямоугольник 49"/>
          <p:cNvSpPr/>
          <p:nvPr>
            <p:custDataLst>
              <p:tags r:id="rId2"/>
            </p:custDataLst>
          </p:nvPr>
        </p:nvSpPr>
        <p:spPr>
          <a:xfrm>
            <a:off x="4357686" y="3500438"/>
            <a:ext cx="2286016" cy="895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6643702" y="2714620"/>
            <a:ext cx="2214578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>
          <a:xfrm>
            <a:off x="2071670" y="2714620"/>
            <a:ext cx="2286016" cy="2421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5"/>
            </p:custDataLst>
          </p:nvPr>
        </p:nvSpPr>
        <p:spPr>
          <a:xfrm rot="10800000">
            <a:off x="2071670" y="1924811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6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ормативной правовой базы характеризуются как положительным, так и отрицательным воздействием на субъектов МСП г. Москвы </a:t>
            </a:r>
            <a:r>
              <a:rPr lang="ru-RU" dirty="0" smtClean="0"/>
              <a:t>в сегменте «Оптовая и розничная торговля»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1857363"/>
          <a:ext cx="6858048" cy="861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6124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0"/>
            </p:custDataLst>
          </p:nvPr>
        </p:nvSpPr>
        <p:spPr>
          <a:xfrm>
            <a:off x="142844" y="2970790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ормативная правовая баз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-142908" y="2181516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2"/>
            </p:custDataLst>
          </p:nvPr>
        </p:nvSpPr>
        <p:spPr>
          <a:xfrm>
            <a:off x="2071670" y="2714620"/>
            <a:ext cx="6786610" cy="1398357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3"/>
            </p:custDataLst>
          </p:nvPr>
        </p:nvCxnSpPr>
        <p:spPr>
          <a:xfrm rot="5400000">
            <a:off x="3658508" y="3413798"/>
            <a:ext cx="139835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4"/>
            </p:custDataLst>
          </p:nvPr>
        </p:nvCxnSpPr>
        <p:spPr>
          <a:xfrm rot="16200000" flipH="1">
            <a:off x="5951934" y="3406388"/>
            <a:ext cx="1398356" cy="1482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429124" y="785794"/>
            <a:ext cx="2143140" cy="642942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ерспектива повышения </a:t>
            </a:r>
            <a:r>
              <a:rPr lang="ru-RU" sz="1200" dirty="0" smtClean="0">
                <a:latin typeface="+mn-lt"/>
              </a:rPr>
              <a:t>обеспеченности населения торговыми объектами</a:t>
            </a:r>
          </a:p>
        </p:txBody>
      </p:sp>
      <p:pic>
        <p:nvPicPr>
          <p:cNvPr id="42" name="Picture 16" descr="http://mediasubs.ru/group/uploads/li/lichnostnyij-rost-i-finansyi/image2/ItMDliMWJ.jpg">
            <a:hlinkClick r:id="rId40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214282" y="928669"/>
            <a:ext cx="1643074" cy="1215876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17"/>
            </p:custDataLst>
          </p:nvPr>
        </p:nvSpPr>
        <p:spPr>
          <a:xfrm>
            <a:off x="2071670" y="4155350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18"/>
            </p:custDataLst>
            <p:extLst>
              <p:ext uri="{D42A27DB-BD31-4B8C-83A1-F6EECF244321}">
                <p14:modId xmlns="" xmlns:p14="http://schemas.microsoft.com/office/powerpoint/2010/main" val="1898590413"/>
              </p:ext>
            </p:extLst>
          </p:nvPr>
        </p:nvGraphicFramePr>
        <p:xfrm>
          <a:off x="2071670" y="4155350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-14290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643702" y="3000372"/>
            <a:ext cx="228601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процессе оптимизации размещения торговых объектов допущены нарушения, обеспечившие высокие издержки субъектам МСП</a:t>
            </a:r>
            <a:endParaRPr lang="en-US" sz="1200" dirty="0" smtClean="0">
              <a:latin typeface="+mn-lt"/>
            </a:endParaRPr>
          </a:p>
        </p:txBody>
      </p:sp>
      <p:pic>
        <p:nvPicPr>
          <p:cNvPr id="125959" name="Picture 7" descr="http://ivbb.ru/domain_dependent/ivbb.ru/uploadify/3d5b9ce52a570d78e6b4bf7f07f18550.jpg">
            <a:hlinkClick r:id="rId42"/>
          </p:cNvPr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4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/>
          <p:cNvCxnSpPr/>
          <p:nvPr>
            <p:custDataLst>
              <p:tags r:id="rId22"/>
            </p:custDataLst>
          </p:nvPr>
        </p:nvCxnSpPr>
        <p:spPr>
          <a:xfrm>
            <a:off x="2071670" y="2928934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>
            <p:custDataLst>
              <p:tags r:id="rId23"/>
            </p:custDataLst>
          </p:nvPr>
        </p:nvCxnSpPr>
        <p:spPr>
          <a:xfrm>
            <a:off x="6643702" y="2928934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286248" y="2669441"/>
            <a:ext cx="242889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азработка </a:t>
            </a:r>
            <a:r>
              <a:rPr lang="ru-RU" sz="1200" dirty="0" smtClean="0">
                <a:latin typeface="+mn-lt"/>
              </a:rPr>
              <a:t>отраслевых схем размещения объектов </a:t>
            </a:r>
            <a:r>
              <a:rPr lang="ru-RU" sz="1200" dirty="0" smtClean="0">
                <a:latin typeface="+mn-lt"/>
              </a:rPr>
              <a:t>торговли и нормативов по обеспеченности торговыми объектами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47" name="Прямая соединительная линия 46"/>
          <p:cNvCxnSpPr/>
          <p:nvPr>
            <p:custDataLst>
              <p:tags r:id="rId25"/>
            </p:custDataLst>
          </p:nvPr>
        </p:nvCxnSpPr>
        <p:spPr>
          <a:xfrm>
            <a:off x="4357686" y="357187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трелка вниз 47"/>
          <p:cNvSpPr/>
          <p:nvPr>
            <p:custDataLst>
              <p:tags r:id="rId26"/>
            </p:custDataLst>
          </p:nvPr>
        </p:nvSpPr>
        <p:spPr>
          <a:xfrm rot="10800000">
            <a:off x="4857752" y="1500174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>
            <p:custDataLst>
              <p:tags r:id="rId27"/>
            </p:custDataLst>
          </p:nvPr>
        </p:nvSpPr>
        <p:spPr>
          <a:xfrm>
            <a:off x="6715140" y="5500702"/>
            <a:ext cx="2071702" cy="71438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Выход из бизнеса части торговых </a:t>
            </a: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МСП (около 30% объектов нестационарной торговли)</a:t>
            </a:r>
            <a:endParaRPr lang="ru-RU" sz="1200" b="1" dirty="0" smtClean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60" name="Стрелка вниз 59"/>
          <p:cNvSpPr/>
          <p:nvPr>
            <p:custDataLst>
              <p:tags r:id="rId28"/>
            </p:custDataLst>
          </p:nvPr>
        </p:nvSpPr>
        <p:spPr>
          <a:xfrm>
            <a:off x="7143768" y="5000636"/>
            <a:ext cx="1143008" cy="44431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трелка вниз 60"/>
          <p:cNvSpPr/>
          <p:nvPr>
            <p:custDataLst>
              <p:tags r:id="rId29"/>
            </p:custDataLst>
          </p:nvPr>
        </p:nvSpPr>
        <p:spPr>
          <a:xfrm>
            <a:off x="2643174" y="5000636"/>
            <a:ext cx="1143008" cy="44431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30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2071670" y="3211297"/>
            <a:ext cx="228601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Законодательные ограничения на привлечение мигрантов  в сфере торговли </a:t>
            </a:r>
            <a:r>
              <a:rPr lang="ru-RU" sz="1200" dirty="0" smtClean="0">
                <a:latin typeface="+mn-lt"/>
              </a:rPr>
              <a:t>(квота</a:t>
            </a:r>
            <a:r>
              <a:rPr lang="en-US" sz="1200" dirty="0" smtClean="0">
                <a:latin typeface="+mn-lt"/>
              </a:rPr>
              <a:t> 25%</a:t>
            </a:r>
            <a:r>
              <a:rPr lang="ru-RU" sz="1200" dirty="0" smtClean="0">
                <a:latin typeface="+mn-lt"/>
              </a:rPr>
              <a:t>)</a:t>
            </a:r>
            <a:endParaRPr lang="en-US" sz="1200" dirty="0" smtClean="0">
              <a:latin typeface="+mn-lt"/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31"/>
            </p:custDataLst>
          </p:nvPr>
        </p:nvSpPr>
        <p:spPr>
          <a:xfrm>
            <a:off x="2071670" y="5500702"/>
            <a:ext cx="2214578" cy="71438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Возникновение у субъектов МСП дополнительных издержек </a:t>
            </a: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по привлечению персонала</a:t>
            </a:r>
            <a:endParaRPr lang="ru-RU" sz="1200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64" name="TextBox 17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-1588" y="6286520"/>
            <a:ext cx="857411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 Развитие оптовой и розничной торговли, общественного питания и бытовых услуг города Москвы на 2012-2016 гг., </a:t>
            </a:r>
          </a:p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614 ПП от 2 ноября 2012 г., 26 ПП от 3 февраля 2011 г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.,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670-ПП от 27.11.2012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., Общественное объединение предпринимателей «Всероссийское движение за честный рынок, информационный ресурс 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Foreman.ru</a:t>
            </a:r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4357686" y="3500438"/>
            <a:ext cx="227860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ереоценка кадастровой стоимости земли, вызвавшая рост земельных налогов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Стрелка вниз 43"/>
          <p:cNvSpPr/>
          <p:nvPr>
            <p:custDataLst>
              <p:tags r:id="rId34"/>
            </p:custDataLst>
          </p:nvPr>
        </p:nvSpPr>
        <p:spPr>
          <a:xfrm>
            <a:off x="4857752" y="5000636"/>
            <a:ext cx="1143008" cy="44431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>
            <p:custDataLst>
              <p:tags r:id="rId35"/>
            </p:custDataLst>
          </p:nvPr>
        </p:nvSpPr>
        <p:spPr>
          <a:xfrm>
            <a:off x="4429124" y="5500702"/>
            <a:ext cx="2143140" cy="71438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У субъектов МСП возросли затраты на аренду земли от 2 до 200 раз </a:t>
            </a:r>
            <a:endParaRPr lang="ru-RU" sz="1200" b="1" dirty="0" smtClean="0">
              <a:solidFill>
                <a:srgbClr val="FF0000"/>
              </a:solidFill>
              <a:cs typeface="Arial" charset="0"/>
            </a:endParaRPr>
          </a:p>
        </p:txBody>
      </p:sp>
      <p:cxnSp>
        <p:nvCxnSpPr>
          <p:cNvPr id="49" name="Прямая соединительная линия 48"/>
          <p:cNvCxnSpPr/>
          <p:nvPr>
            <p:custDataLst>
              <p:tags r:id="rId36"/>
            </p:custDataLst>
          </p:nvPr>
        </p:nvCxnSpPr>
        <p:spPr>
          <a:xfrm>
            <a:off x="4357686" y="3500438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9" name="think-cell Slide" r:id="rId18" imgW="270" imgH="270" progId="TCLayout.ActiveDocument.1">
              <p:embed/>
            </p:oleObj>
          </a:graphicData>
        </a:graphic>
      </p:graphicFrame>
      <p:pic>
        <p:nvPicPr>
          <p:cNvPr id="124934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571736" y="4500570"/>
            <a:ext cx="1998278" cy="175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ие мероприятия государственной поддержки оказывают положительное воздействие на субъектов МСП г. Москвы в </a:t>
            </a:r>
            <a:r>
              <a:rPr lang="ru-RU" dirty="0" smtClean="0"/>
              <a:t>сегменте «Оптовая и розничная торговля»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8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0"/>
            </p:custDataLst>
          </p:nvPr>
        </p:nvCxnSpPr>
        <p:spPr>
          <a:xfrm rot="5400000">
            <a:off x="3679025" y="2464587"/>
            <a:ext cx="1357322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1"/>
            </p:custDataLst>
          </p:nvPr>
        </p:nvCxnSpPr>
        <p:spPr>
          <a:xfrm rot="5400000">
            <a:off x="5965041" y="2464587"/>
            <a:ext cx="1357322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6" descr="http://mediasubs.ru/group/uploads/li/lichnostnyij-rost-i-finansyi/image2/ItMDliMWJ.jpg">
            <a:hlinkClick r:id="rId20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32" name="Rectangle 19"/>
          <p:cNvSpPr/>
          <p:nvPr>
            <p:custDataLst>
              <p:tags r:id="rId13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286248" y="1928802"/>
            <a:ext cx="235745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Развитие оптовой и розничной торговли, общественного питания и бытовых услуг города Москвы </a:t>
            </a:r>
          </a:p>
          <a:p>
            <a:pPr algn="ctr"/>
            <a:r>
              <a:rPr lang="ru-RU" sz="1200" dirty="0" smtClean="0">
                <a:latin typeface="+mn-lt"/>
              </a:rPr>
              <a:t>на 2012-2016 гг.</a:t>
            </a:r>
          </a:p>
        </p:txBody>
      </p:sp>
      <p:sp>
        <p:nvSpPr>
          <p:cNvPr id="26" name="Стрелка вниз 25"/>
          <p:cNvSpPr/>
          <p:nvPr/>
        </p:nvSpPr>
        <p:spPr>
          <a:xfrm>
            <a:off x="4929190" y="3214686"/>
            <a:ext cx="1214446" cy="107157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572000" y="4429132"/>
            <a:ext cx="1928826" cy="1800493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Развитие социально значимых компаний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агропромышленного комплекс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Информационная поддержк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и др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7215206" y="4714884"/>
            <a:ext cx="1643074" cy="1500198"/>
          </a:xfrm>
          <a:prstGeom prst="rect">
            <a:avLst/>
          </a:prstGeom>
          <a:solidFill>
            <a:schemeClr val="bg1"/>
          </a:solidFill>
          <a:ln w="12700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редставление сферы торговли и услуг на портале «Открытые данные</a:t>
            </a:r>
            <a:r>
              <a:rPr lang="ru-RU" sz="1200" dirty="0" smtClean="0">
                <a:solidFill>
                  <a:schemeClr val="tx1"/>
                </a:solidFill>
              </a:rPr>
              <a:t>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215206" y="4286256"/>
            <a:ext cx="1643074" cy="4286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Информационная поддержка</a:t>
            </a:r>
            <a:endParaRPr lang="ru-RU" sz="1200" dirty="0"/>
          </a:p>
        </p:txBody>
      </p:sp>
      <p:sp>
        <p:nvSpPr>
          <p:cNvPr id="23" name="Стрелка вниз 22"/>
          <p:cNvSpPr/>
          <p:nvPr/>
        </p:nvSpPr>
        <p:spPr>
          <a:xfrm rot="16200000" flipH="1">
            <a:off x="6281750" y="5076836"/>
            <a:ext cx="1152532" cy="57150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ttTFTGUE.pbg9Q_m85a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.mGH6wekeM41q1bsUSe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qQprcd80Sc5LG_O3wfC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6mqPJkAEq.zEgayZaB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8fOh.Eik.XFz3WeCVos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PRqb6hTUaxej9qJdCQ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KSEVB4Pk.AkdoS.c6_6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28YIRMDkW1EG2VK.PiS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pqdYMCNkG9IbsW3SF5W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s5FJA.pE20IUgYWA1p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_r5.gE.UuXCxonOdHfO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uPBNhS0E6ieHmKDdD9k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dBdNZzykWskCsV7QEb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4W6e0nTkKK3QHtfvqDr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CwK6c3RUeIv5b3.Uxv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nmthayMEWcgan_PPg3j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_cSc58qU23w_LQB1.Ra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aQowJ.wUmWLp7FosTMv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0DDAeTAUqP4cP.z3JW1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5EDC2UDUK2k2xODekme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GKmvQWFEWWu3wCiodBo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I3VjBUdUmNEFc8k1.yM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bTt7WbwkGR9cTWqYV1G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N2Ns7UE06ThhUD8te8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du4cdujU2Fna8r9LWfn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KcQFdyUacN.OQkHD7H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DqU6h._kC45FFEEtuWb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m5rBRAyE.2JvQbTmuC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ZWlV4RpUOMrEdK4nK7i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GKmvQWFEWWu3wCiodBo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bTt7WbwkGR9cTWqYV1G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nRqxm0ut78E.Dr.UX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a4wy7DC0i0Am_OlB.9r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s1qED0mI00eeZGWX6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KcQFdyUacN.OQkHD7H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9KS.gdsE2ucU8HFCNJ1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iqz0nML0qzsLW1Hpbo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8WukjSk0exX822cJ_lK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WRqfitvEyQVHrGBz.E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kLzvNeoEO_Old55VCNG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rwiYnqH0qRkm6BXzCnd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a4wy7DC0i0Am_OlB.9r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kLzvNeoEO_Old55VCNG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9KS.gdsE2ucU8HFCNJ1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WRqfitvEyQVHrGBz.Eq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I3VjBUdUmNEFc8k1.yM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wM.TTt8ku6jx9QFist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N2Ns7UE06ThhUD8te8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wM.TTt8ku6jx9QFist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N2Ns7UE06ThhUD8te8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bTt7WbwkGR9cTWqYV1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H3wONRJk2W7L4OcOO72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3lxcnnTkKcp7CcH31X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L3Bf3GGE.htpCZQLLG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_rYhqBg0KvnbF8mHsWj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2Yq7XKqUqjbkWaxgYs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TwcJjsWUGr.lvszB1MB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DKU_xq7k2NLwzLTA4W7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9zbRvLFkut2c_hs13b8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Y5mIzfLEmn4gkLTDrSW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AAyTuWn0qh.qjzem7P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nT6wJqP0.BgaUCayiSI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FvExpdlkaQtUtRucPH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dUb5WvOEGcyqjX1hOg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CEO80lxke18_GpAXKT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k4EaJ2MU.1UxFSoiZuC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TE5tGrMEOuYRTEnvldb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yCuRfLOkyjfXrcmWXM2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bTt7WbwkGR9cTWqYV1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5264</TotalTime>
  <Words>2158</Words>
  <Application>Microsoft Office PowerPoint</Application>
  <PresentationFormat>Экран (4:3)</PresentationFormat>
  <Paragraphs>285</Paragraphs>
  <Slides>16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nisse_orv_arenda_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Philipp</cp:lastModifiedBy>
  <cp:revision>254</cp:revision>
  <dcterms:created xsi:type="dcterms:W3CDTF">2012-11-23T10:09:39Z</dcterms:created>
  <dcterms:modified xsi:type="dcterms:W3CDTF">2013-10-17T16:09:30Z</dcterms:modified>
</cp:coreProperties>
</file>